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1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4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2"/>
    <p:sldMasterId id="2147484387" r:id="rId3"/>
    <p:sldMasterId id="2147484494" r:id="rId4"/>
    <p:sldMasterId id="2147484615" r:id="rId5"/>
    <p:sldMasterId id="2147484627" r:id="rId6"/>
    <p:sldMasterId id="2147484667" r:id="rId7"/>
    <p:sldMasterId id="2147484679" r:id="rId8"/>
    <p:sldMasterId id="2147485248" r:id="rId9"/>
    <p:sldMasterId id="2147485260" r:id="rId10"/>
    <p:sldMasterId id="2147485272" r:id="rId11"/>
    <p:sldMasterId id="2147485298" r:id="rId12"/>
    <p:sldMasterId id="2147485317" r:id="rId13"/>
    <p:sldMasterId id="2147485419" r:id="rId14"/>
    <p:sldMasterId id="2147485483" r:id="rId15"/>
    <p:sldMasterId id="2147485616" r:id="rId16"/>
  </p:sldMasterIdLst>
  <p:notesMasterIdLst>
    <p:notesMasterId r:id="rId18"/>
  </p:notesMasterIdLst>
  <p:handoutMasterIdLst>
    <p:handoutMasterId r:id="rId19"/>
  </p:handoutMasterIdLst>
  <p:sldIdLst>
    <p:sldId id="402" r:id="rId17"/>
  </p:sldIdLst>
  <p:sldSz cx="9144000" cy="6858000" type="screen4x3"/>
  <p:notesSz cx="7010400" cy="929640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7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690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54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1780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3813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4492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084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867">
          <p15:clr>
            <a:srgbClr val="A4A3A4"/>
          </p15:clr>
        </p15:guide>
        <p15:guide id="3" orient="horz" pos="2484">
          <p15:clr>
            <a:srgbClr val="A4A3A4"/>
          </p15:clr>
        </p15:guide>
        <p15:guide id="4" orient="horz" pos="720">
          <p15:clr>
            <a:srgbClr val="A4A3A4"/>
          </p15:clr>
        </p15:guide>
        <p15:guide id="5" pos="2880">
          <p15:clr>
            <a:srgbClr val="A4A3A4"/>
          </p15:clr>
        </p15:guide>
        <p15:guide id="6" pos="273">
          <p15:clr>
            <a:srgbClr val="A4A3A4"/>
          </p15:clr>
        </p15:guide>
        <p15:guide id="7" pos="55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7C"/>
    <a:srgbClr val="374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67" autoAdjust="0"/>
    <p:restoredTop sz="79370" autoAdjust="0"/>
  </p:normalViewPr>
  <p:slideViewPr>
    <p:cSldViewPr snapToGrid="0">
      <p:cViewPr varScale="1">
        <p:scale>
          <a:sx n="108" d="100"/>
          <a:sy n="108" d="100"/>
        </p:scale>
        <p:origin x="1596" y="78"/>
      </p:cViewPr>
      <p:guideLst>
        <p:guide orient="horz" pos="4176"/>
        <p:guide orient="horz" pos="867"/>
        <p:guide orient="horz" pos="2484"/>
        <p:guide orient="horz" pos="720"/>
        <p:guide pos="2880"/>
        <p:guide pos="273"/>
        <p:guide pos="5550"/>
      </p:guideLst>
    </p:cSldViewPr>
  </p:slideViewPr>
  <p:outlineViewPr>
    <p:cViewPr>
      <p:scale>
        <a:sx n="33" d="100"/>
        <a:sy n="33" d="100"/>
      </p:scale>
      <p:origin x="48" y="71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66" d="100"/>
          <a:sy n="166" d="100"/>
        </p:scale>
        <p:origin x="-1086" y="13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2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9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rugan, Senthil" userId="e6883651-b919-4e64-985b-40f58d687b81" providerId="ADAL" clId="{9ADDC016-3B21-4573-8F10-0D2D30B19C4F}"/>
    <pc:docChg chg="undo custSel addSld modSld sldOrd modMainMaster">
      <pc:chgData name="Murugan, Senthil" userId="e6883651-b919-4e64-985b-40f58d687b81" providerId="ADAL" clId="{9ADDC016-3B21-4573-8F10-0D2D30B19C4F}" dt="2019-12-04T18:08:41.353" v="4692"/>
      <pc:docMkLst>
        <pc:docMk/>
      </pc:docMkLst>
      <pc:sldChg chg="modSp add">
        <pc:chgData name="Murugan, Senthil" userId="e6883651-b919-4e64-985b-40f58d687b81" providerId="ADAL" clId="{9ADDC016-3B21-4573-8F10-0D2D30B19C4F}" dt="2019-12-04T17:15:05.847" v="2574" actId="20577"/>
        <pc:sldMkLst>
          <pc:docMk/>
          <pc:sldMk cId="1655045466" sldId="402"/>
        </pc:sldMkLst>
        <pc:spChg chg="mod">
          <ac:chgData name="Murugan, Senthil" userId="e6883651-b919-4e64-985b-40f58d687b81" providerId="ADAL" clId="{9ADDC016-3B21-4573-8F10-0D2D30B19C4F}" dt="2019-12-04T17:13:36.135" v="2562" actId="6549"/>
          <ac:spMkLst>
            <pc:docMk/>
            <pc:sldMk cId="1655045466" sldId="402"/>
            <ac:spMk id="2" creationId="{00000000-0000-0000-0000-000000000000}"/>
          </ac:spMkLst>
        </pc:spChg>
        <pc:spChg chg="mod">
          <ac:chgData name="Murugan, Senthil" userId="e6883651-b919-4e64-985b-40f58d687b81" providerId="ADAL" clId="{9ADDC016-3B21-4573-8F10-0D2D30B19C4F}" dt="2019-12-04T17:15:05.847" v="2574" actId="20577"/>
          <ac:spMkLst>
            <pc:docMk/>
            <pc:sldMk cId="1655045466" sldId="402"/>
            <ac:spMk id="3" creationId="{00000000-0000-0000-0000-000000000000}"/>
          </ac:spMkLst>
        </pc:spChg>
      </pc:sldChg>
      <pc:sldMasterChg chg="modSldLayout">
        <pc:chgData name="Murugan, Senthil" userId="e6883651-b919-4e64-985b-40f58d687b81" providerId="ADAL" clId="{9ADDC016-3B21-4573-8F10-0D2D30B19C4F}" dt="2019-12-04T18:08:41.353" v="4692"/>
        <pc:sldMasterMkLst>
          <pc:docMk/>
          <pc:sldMasterMk cId="2369784521" sldId="2147485616"/>
        </pc:sldMasterMkLst>
        <pc:sldLayoutChg chg="addSp delSp modSp">
          <pc:chgData name="Murugan, Senthil" userId="e6883651-b919-4e64-985b-40f58d687b81" providerId="ADAL" clId="{9ADDC016-3B21-4573-8F10-0D2D30B19C4F}" dt="2019-12-04T18:08:41.353" v="4692"/>
          <pc:sldLayoutMkLst>
            <pc:docMk/>
            <pc:sldMasterMk cId="2369784521" sldId="2147485616"/>
            <pc:sldLayoutMk cId="752712323" sldId="2147485618"/>
          </pc:sldLayoutMkLst>
          <pc:picChg chg="add del mod ord">
            <ac:chgData name="Murugan, Senthil" userId="e6883651-b919-4e64-985b-40f58d687b81" providerId="ADAL" clId="{9ADDC016-3B21-4573-8F10-0D2D30B19C4F}" dt="2019-12-04T17:51:24.536" v="4242"/>
            <ac:picMkLst>
              <pc:docMk/>
              <pc:sldMasterMk cId="2369784521" sldId="2147485616"/>
              <pc:sldLayoutMk cId="752712323" sldId="2147485618"/>
              <ac:picMk id="6" creationId="{4F7FBFC3-6574-4BAE-832B-B7714A8C92A4}"/>
            </ac:picMkLst>
          </pc:picChg>
          <pc:picChg chg="add del mod ord">
            <ac:chgData name="Murugan, Senthil" userId="e6883651-b919-4e64-985b-40f58d687b81" providerId="ADAL" clId="{9ADDC016-3B21-4573-8F10-0D2D30B19C4F}" dt="2019-12-04T18:07:07.702" v="4651"/>
            <ac:picMkLst>
              <pc:docMk/>
              <pc:sldMasterMk cId="2369784521" sldId="2147485616"/>
              <pc:sldLayoutMk cId="752712323" sldId="2147485618"/>
              <ac:picMk id="8" creationId="{91E1F853-A10A-4FC0-A6F5-5362765D9BEE}"/>
            </ac:picMkLst>
          </pc:picChg>
          <pc:picChg chg="add del mod ord">
            <ac:chgData name="Murugan, Senthil" userId="e6883651-b919-4e64-985b-40f58d687b81" providerId="ADAL" clId="{9ADDC016-3B21-4573-8F10-0D2D30B19C4F}" dt="2019-12-04T18:07:40.846" v="4662"/>
            <ac:picMkLst>
              <pc:docMk/>
              <pc:sldMasterMk cId="2369784521" sldId="2147485616"/>
              <pc:sldLayoutMk cId="752712323" sldId="2147485618"/>
              <ac:picMk id="10" creationId="{0512621D-4DE4-4448-B091-7B6DB46C7926}"/>
            </ac:picMkLst>
          </pc:picChg>
          <pc:picChg chg="add del mod ord">
            <ac:chgData name="Murugan, Senthil" userId="e6883651-b919-4e64-985b-40f58d687b81" providerId="ADAL" clId="{9ADDC016-3B21-4573-8F10-0D2D30B19C4F}" dt="2019-12-04T18:08:41.337" v="4684"/>
            <ac:picMkLst>
              <pc:docMk/>
              <pc:sldMasterMk cId="2369784521" sldId="2147485616"/>
              <pc:sldLayoutMk cId="752712323" sldId="2147485618"/>
              <ac:picMk id="12" creationId="{DD21C6FD-7876-4FB5-9792-8A347B9A5B45}"/>
            </ac:picMkLst>
          </pc:picChg>
          <pc:picChg chg="add mod ord">
            <ac:chgData name="Murugan, Senthil" userId="e6883651-b919-4e64-985b-40f58d687b81" providerId="ADAL" clId="{9ADDC016-3B21-4573-8F10-0D2D30B19C4F}" dt="2019-12-04T18:08:41.353" v="4692"/>
            <ac:picMkLst>
              <pc:docMk/>
              <pc:sldMasterMk cId="2369784521" sldId="2147485616"/>
              <pc:sldLayoutMk cId="752712323" sldId="2147485618"/>
              <ac:picMk id="14" creationId="{8178EBFE-3C47-454F-A906-F562E16E499B}"/>
            </ac:picMkLst>
          </pc:picChg>
        </pc:sldLayoutChg>
      </pc:sldMasterChg>
    </pc:docChg>
  </pc:docChgLst>
  <pc:docChgLst>
    <pc:chgData name="Murugan, Senthil" userId="e6883651-b919-4e64-985b-40f58d687b81" providerId="ADAL" clId="{73E656AD-F509-416B-A279-292351203BB2}"/>
    <pc:docChg chg="custSel delSld modSld modMainMaster">
      <pc:chgData name="Murugan, Senthil" userId="e6883651-b919-4e64-985b-40f58d687b81" providerId="ADAL" clId="{73E656AD-F509-416B-A279-292351203BB2}" dt="2019-12-06T22:47:39.851" v="515"/>
      <pc:docMkLst>
        <pc:docMk/>
      </pc:docMkLst>
      <pc:sldChg chg="del">
        <pc:chgData name="Murugan, Senthil" userId="e6883651-b919-4e64-985b-40f58d687b81" providerId="ADAL" clId="{73E656AD-F509-416B-A279-292351203BB2}" dt="2019-12-06T22:38:45.262" v="0" actId="2696"/>
        <pc:sldMkLst>
          <pc:docMk/>
          <pc:sldMk cId="2402762978" sldId="399"/>
        </pc:sldMkLst>
      </pc:sldChg>
      <pc:sldChg chg="del">
        <pc:chgData name="Murugan, Senthil" userId="e6883651-b919-4e64-985b-40f58d687b81" providerId="ADAL" clId="{73E656AD-F509-416B-A279-292351203BB2}" dt="2019-12-06T22:38:46.058" v="1" actId="2696"/>
        <pc:sldMkLst>
          <pc:docMk/>
          <pc:sldMk cId="2010203572" sldId="400"/>
        </pc:sldMkLst>
      </pc:sldChg>
      <pc:sldChg chg="del">
        <pc:chgData name="Murugan, Senthil" userId="e6883651-b919-4e64-985b-40f58d687b81" providerId="ADAL" clId="{73E656AD-F509-416B-A279-292351203BB2}" dt="2019-12-06T22:47:33.676" v="502" actId="2696"/>
        <pc:sldMkLst>
          <pc:docMk/>
          <pc:sldMk cId="953722704" sldId="401"/>
        </pc:sldMkLst>
      </pc:sldChg>
      <pc:sldChg chg="addSp delSp modSp">
        <pc:chgData name="Murugan, Senthil" userId="e6883651-b919-4e64-985b-40f58d687b81" providerId="ADAL" clId="{73E656AD-F509-416B-A279-292351203BB2}" dt="2019-12-06T22:47:04.066" v="501" actId="20577"/>
        <pc:sldMkLst>
          <pc:docMk/>
          <pc:sldMk cId="1655045466" sldId="402"/>
        </pc:sldMkLst>
        <pc:spChg chg="mod">
          <ac:chgData name="Murugan, Senthil" userId="e6883651-b919-4e64-985b-40f58d687b81" providerId="ADAL" clId="{73E656AD-F509-416B-A279-292351203BB2}" dt="2019-12-06T22:46:37.082" v="472" actId="20577"/>
          <ac:spMkLst>
            <pc:docMk/>
            <pc:sldMk cId="1655045466" sldId="402"/>
            <ac:spMk id="2" creationId="{00000000-0000-0000-0000-000000000000}"/>
          </ac:spMkLst>
        </pc:spChg>
        <pc:spChg chg="mod">
          <ac:chgData name="Murugan, Senthil" userId="e6883651-b919-4e64-985b-40f58d687b81" providerId="ADAL" clId="{73E656AD-F509-416B-A279-292351203BB2}" dt="2019-12-06T22:47:04.066" v="501" actId="20577"/>
          <ac:spMkLst>
            <pc:docMk/>
            <pc:sldMk cId="1655045466" sldId="402"/>
            <ac:spMk id="3" creationId="{00000000-0000-0000-0000-000000000000}"/>
          </ac:spMkLst>
        </pc:spChg>
        <pc:spChg chg="add del">
          <ac:chgData name="Murugan, Senthil" userId="e6883651-b919-4e64-985b-40f58d687b81" providerId="ADAL" clId="{73E656AD-F509-416B-A279-292351203BB2}" dt="2019-12-06T22:41:22.069" v="92"/>
          <ac:spMkLst>
            <pc:docMk/>
            <pc:sldMk cId="1655045466" sldId="402"/>
            <ac:spMk id="5" creationId="{760007BC-DC0C-41C6-B05C-2F9CB9B2D3E3}"/>
          </ac:spMkLst>
        </pc:spChg>
      </pc:sldChg>
      <pc:sldChg chg="del">
        <pc:chgData name="Murugan, Senthil" userId="e6883651-b919-4e64-985b-40f58d687b81" providerId="ADAL" clId="{73E656AD-F509-416B-A279-292351203BB2}" dt="2019-12-06T22:47:33.698" v="503" actId="2696"/>
        <pc:sldMkLst>
          <pc:docMk/>
          <pc:sldMk cId="452956560" sldId="403"/>
        </pc:sldMkLst>
      </pc:sldChg>
      <pc:sldChg chg="del">
        <pc:chgData name="Murugan, Senthil" userId="e6883651-b919-4e64-985b-40f58d687b81" providerId="ADAL" clId="{73E656AD-F509-416B-A279-292351203BB2}" dt="2019-12-06T22:47:33.711" v="504" actId="2696"/>
        <pc:sldMkLst>
          <pc:docMk/>
          <pc:sldMk cId="995334219" sldId="404"/>
        </pc:sldMkLst>
      </pc:sldChg>
      <pc:sldChg chg="del">
        <pc:chgData name="Murugan, Senthil" userId="e6883651-b919-4e64-985b-40f58d687b81" providerId="ADAL" clId="{73E656AD-F509-416B-A279-292351203BB2}" dt="2019-12-06T22:47:33.730" v="505" actId="2696"/>
        <pc:sldMkLst>
          <pc:docMk/>
          <pc:sldMk cId="4070677420" sldId="405"/>
        </pc:sldMkLst>
      </pc:sldChg>
      <pc:sldMasterChg chg="modSldLayout">
        <pc:chgData name="Murugan, Senthil" userId="e6883651-b919-4e64-985b-40f58d687b81" providerId="ADAL" clId="{73E656AD-F509-416B-A279-292351203BB2}" dt="2019-12-06T22:47:39.851" v="515"/>
        <pc:sldMasterMkLst>
          <pc:docMk/>
          <pc:sldMasterMk cId="2369784521" sldId="2147485616"/>
        </pc:sldMasterMkLst>
        <pc:sldLayoutChg chg="addSp delSp modSp">
          <pc:chgData name="Murugan, Senthil" userId="e6883651-b919-4e64-985b-40f58d687b81" providerId="ADAL" clId="{73E656AD-F509-416B-A279-292351203BB2}" dt="2019-12-06T22:47:39.851" v="515"/>
          <pc:sldLayoutMkLst>
            <pc:docMk/>
            <pc:sldMasterMk cId="2369784521" sldId="2147485616"/>
            <pc:sldLayoutMk cId="752712323" sldId="2147485618"/>
          </pc:sldLayoutMkLst>
          <pc:picChg chg="add mod ord">
            <ac:chgData name="Murugan, Senthil" userId="e6883651-b919-4e64-985b-40f58d687b81" providerId="ADAL" clId="{73E656AD-F509-416B-A279-292351203BB2}" dt="2019-12-06T22:47:39.851" v="515"/>
            <ac:picMkLst>
              <pc:docMk/>
              <pc:sldMasterMk cId="2369784521" sldId="2147485616"/>
              <pc:sldLayoutMk cId="752712323" sldId="2147485618"/>
              <ac:picMk id="6" creationId="{53DC6935-4C94-4B6D-8C86-701E648A81DA}"/>
            </ac:picMkLst>
          </pc:picChg>
          <pc:picChg chg="del">
            <ac:chgData name="Murugan, Senthil" userId="e6883651-b919-4e64-985b-40f58d687b81" providerId="ADAL" clId="{73E656AD-F509-416B-A279-292351203BB2}" dt="2019-12-06T22:47:39.812" v="507"/>
            <ac:picMkLst>
              <pc:docMk/>
              <pc:sldMasterMk cId="2369784521" sldId="2147485616"/>
              <pc:sldLayoutMk cId="752712323" sldId="2147485618"/>
              <ac:picMk id="14" creationId="{8178EBFE-3C47-454F-A906-F562E16E499B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868A01-18F1-405F-9685-355E3CF68701}" type="datetimeFigureOut">
              <a:rPr lang="en-US"/>
              <a:pPr>
                <a:defRPr/>
              </a:pPr>
              <a:t>12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FBCA88-7166-44BB-924F-1BE9DAF5EB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054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FC7EDC4-D4F2-4831-B40E-9A92549B31E6}" type="datetimeFigureOut">
              <a:rPr lang="en-US"/>
              <a:pPr>
                <a:defRPr/>
              </a:pPr>
              <a:t>12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141C47-4CBF-4034-84E0-3A14F81F36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42993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0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42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780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13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492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84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015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w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0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w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7" name="Freeform 6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4F991C9-B7B3-4C88-96D6-AB9A80EC52B4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4" name="Freeform 13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620000" cy="10668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359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238C1C-6DF9-4A8D-8485-1CAFF359B0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4394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179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780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7333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7146" indent="0">
              <a:buNone/>
              <a:defRPr sz="2800"/>
            </a:lvl2pPr>
            <a:lvl3pPr marL="914292" indent="0">
              <a:buNone/>
              <a:defRPr sz="2400"/>
            </a:lvl3pPr>
            <a:lvl4pPr marL="1371437" indent="0">
              <a:buNone/>
              <a:defRPr sz="2000"/>
            </a:lvl4pPr>
            <a:lvl5pPr marL="1828583" indent="0">
              <a:buNone/>
              <a:defRPr sz="2000"/>
            </a:lvl5pPr>
            <a:lvl6pPr marL="2285729" indent="0">
              <a:buNone/>
              <a:defRPr sz="2000"/>
            </a:lvl6pPr>
            <a:lvl7pPr marL="2742875" indent="0">
              <a:buNone/>
              <a:defRPr sz="2000"/>
            </a:lvl7pPr>
            <a:lvl8pPr marL="3200021" indent="0">
              <a:buNone/>
              <a:defRPr sz="2000"/>
            </a:lvl8pPr>
            <a:lvl9pPr marL="365716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91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960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746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8" y="276890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7" y="3272091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pic>
        <p:nvPicPr>
          <p:cNvPr id="6" name="Picture 5" descr="merck_be_well_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07" y="6356256"/>
            <a:ext cx="998361" cy="304788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4594231"/>
            <a:ext cx="2576512" cy="282575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26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28789"/>
            <a:ext cx="8445499" cy="43973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365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4B714-0F0F-4FF5-8AFA-A1D162AD2F87}" type="slidenum">
              <a:rPr lang="en-US" alt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532538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06" name="Picture 12" descr="EC_Text_slide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9"/>
          <a:stretch>
            <a:fillRect/>
          </a:stretch>
        </p:blipFill>
        <p:spPr bwMode="auto">
          <a:xfrm>
            <a:off x="1" y="-1976"/>
            <a:ext cx="7935999" cy="213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310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30310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graphicFrame>
        <p:nvGraphicFramePr>
          <p:cNvPr id="303111" name="Object 7"/>
          <p:cNvGraphicFramePr>
            <a:graphicFrameLocks noChangeAspect="1"/>
          </p:cNvGraphicFramePr>
          <p:nvPr/>
        </p:nvGraphicFramePr>
        <p:xfrm>
          <a:off x="0" y="6477000"/>
          <a:ext cx="1143000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Image" r:id="rId4" imgW="1917460" imgH="647391" progId="">
                  <p:embed/>
                </p:oleObj>
              </mc:Choice>
              <mc:Fallback>
                <p:oleObj name="Image" r:id="rId4" imgW="1917460" imgH="647391" progId="">
                  <p:embed/>
                  <p:pic>
                    <p:nvPicPr>
                      <p:cNvPr id="303111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477000"/>
                        <a:ext cx="1143000" cy="38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33CC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676767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B8B8B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jClassifierImageBottom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454" y="6519136"/>
            <a:ext cx="792549" cy="32616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61E61-0BCA-4150-B181-DE10CAE5F8BB}" type="slidenum">
              <a:rPr lang="en-US" smtClean="0">
                <a:solidFill>
                  <a:srgbClr val="00877C"/>
                </a:solidFill>
              </a:rPr>
              <a:pPr/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32182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F2198C-B404-4D8B-B715-0AE54A2881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4307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6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6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46494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50180-8C44-465D-A034-B44CD764FE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035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3A1695-A400-4A41-9DD1-CB7AFE3D49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861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0DA85-40F6-4D42-BB0C-541DFD2558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0147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CC561-DE9C-468A-87A4-B5F679CE5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2974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DACE1E-3B3A-4CBB-AE15-2060270B35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8404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3D181-D8B6-4AF0-8CA1-70BE1C5A0E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2318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9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CD8E6-EEB2-4FD5-B1D4-D7E760E848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79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706CCE-A2D6-4FE9-A1C2-52DE6476C4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387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9C3C0-49C8-4AB8-B88E-4283E4F7D1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958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46941-CBB8-44DC-A65A-D314DC5A0F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00320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63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63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6C68E-2EBA-48CC-A7D7-7A3A1D065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263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17D690-7102-4BC6-BF22-626CC3D3324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806027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/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24633-331F-4DFA-8BE9-9DDB5B4BC6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215" y="-538707"/>
            <a:ext cx="5904114" cy="777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489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F2EDDF-1E89-43E8-BAAF-227723A0CF4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41416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8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A01098-E870-4064-AD42-61DF9C3D15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448136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8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9CFB2A-50F5-41E4-8BF5-5A4B92C1243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84024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7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BA20DC-B506-49C1-8B11-ADD5FA9458A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104698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8895BF-C1C5-49CB-9754-0325FBAB2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59255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8895BF-C1C5-49CB-9754-0325FBAB2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5AC91E-FE41-4456-B327-F29DD779E757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8517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65DB8A-611A-4F4B-AF51-5415D81AA6D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919543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C8361E-72D1-4261-BC48-6EA379A9EFD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35925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BDC38-2ADB-47B1-949D-242BD9E1AB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84564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01894A4-06E2-4681-A071-150303362E5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327901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44452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33F9CE-44C8-48F7-BE29-0CF8AE1AA46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412705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Dark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088921-EBF7-48EC-A86E-1D317E4D107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51208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Ligh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9924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36D955-AE3B-4320-84EE-732FCC1EF8B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498223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Light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1AEA22-7043-4427-86E9-8F23B7876CE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461286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Light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A32496-51FB-4C38-B376-C7AC4B122D6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369994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1F6EDA-7375-41A5-9605-90BCFD844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72153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1F6EDA-7375-41A5-9605-90BCFD844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790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9D0B89-E418-45F8-99EB-B392A9EC3B6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881546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FF5C32F-260A-428F-8438-207F6329A0F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5716846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BDE5D4-3E28-4D96-92A2-587BC8BA9E4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6811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F9292-E11C-4D02-9375-162058DFF6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939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_d gr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3996"/>
            <a:ext cx="4927896" cy="2350008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FFFFFF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4629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4667" y="1853405"/>
            <a:ext cx="3949735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0">
                <a:solidFill>
                  <a:schemeClr val="accent1"/>
                </a:solidFill>
              </a:defRPr>
            </a:lvl1pPr>
            <a:lvl2pPr marL="220663" indent="-169863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863" indent="-187325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75088F-B19A-4813-BF12-08712042989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82492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FB58E7-435E-402F-8838-6355A07505B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348487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4766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6F5FD16-F105-4542-8076-A07804A8E0E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12880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stacked text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&lt;2 stacked content / table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399"/>
            <a:ext cx="8222618" cy="284733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666" y="4896160"/>
            <a:ext cx="8222618" cy="1247487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 marL="180975" indent="-147638">
              <a:spcBef>
                <a:spcPts val="200"/>
              </a:spcBef>
              <a:defRPr sz="1800"/>
            </a:lvl2pPr>
            <a:lvl3pPr marL="368300" indent="-168275">
              <a:spcBef>
                <a:spcPts val="0"/>
              </a:spcBef>
              <a:defRPr sz="1700"/>
            </a:lvl3pPr>
            <a:lvl4pPr marL="501650" indent="-133350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CA916A-FF3A-4195-9AD0-B45A0D4F32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122894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F3B38D-CF5C-4453-9C26-FB0633D4F30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3659646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/ Clos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ThankYou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75" y="1913098"/>
            <a:ext cx="5438120" cy="1608668"/>
          </a:xfrm>
        </p:spPr>
        <p:txBody>
          <a:bodyPr/>
          <a:lstStyle>
            <a:lvl1pPr>
              <a:lnSpc>
                <a:spcPct val="78000"/>
              </a:lnSpc>
              <a:defRPr sz="5800" cap="all" spc="13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hank you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66" y="3970933"/>
            <a:ext cx="3953422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Optional Subtitle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66" y="5483546"/>
            <a:ext cx="3953422" cy="739456"/>
          </a:xfrm>
        </p:spPr>
        <p:txBody>
          <a:bodyPr/>
          <a:lstStyle>
            <a:lvl1pPr>
              <a:defRPr sz="550" kern="500" baseline="0">
                <a:solidFill>
                  <a:srgbClr val="FFFFF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Proprietary / Legal Language Here</a:t>
            </a:r>
          </a:p>
        </p:txBody>
      </p:sp>
    </p:spTree>
    <p:extLst>
      <p:ext uri="{BB962C8B-B14F-4D97-AF65-F5344CB8AC3E}">
        <p14:creationId xmlns:p14="http://schemas.microsoft.com/office/powerpoint/2010/main" val="483914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4709701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 TOC – Gree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8" y="446259"/>
            <a:ext cx="7834136" cy="10761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Agenda / TOC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58" y="1853405"/>
            <a:ext cx="8222023" cy="4290227"/>
          </a:xfrm>
        </p:spPr>
        <p:txBody>
          <a:bodyPr numCol="2" spcCol="731520"/>
          <a:lstStyle>
            <a:lvl1pPr marL="368300" indent="-368300">
              <a:spcBef>
                <a:spcPts val="10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627063" indent="-258763"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49313" indent="-146050">
              <a:buFont typeface="Arial"/>
              <a:buChar char="•"/>
              <a:defRPr>
                <a:solidFill>
                  <a:schemeClr val="tx1"/>
                </a:solidFill>
              </a:defRPr>
            </a:lvl3pPr>
            <a:lvl4pPr marL="1055688" indent="-171450">
              <a:buFont typeface="Lucida Grande"/>
              <a:buChar char="–"/>
              <a:defRPr>
                <a:solidFill>
                  <a:schemeClr val="tx1"/>
                </a:solidFill>
              </a:defRPr>
            </a:lvl4pPr>
            <a:lvl5pPr marL="1279525" indent="-182563">
              <a:buFont typeface="Arial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1A29BB-6BCA-4B1E-AE44-7B20672C1D1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7080442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E50EC3-2178-4B68-B483-6E1D6413E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154908"/>
              </p:ext>
            </p:extLst>
          </p:nvPr>
        </p:nvGraphicFramePr>
        <p:xfrm>
          <a:off x="1191" y="158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E50EC3-2178-4B68-B483-6E1D6413E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8FD5BA-E117-4FA2-98E4-5BFDE4FBBB6F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0575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866C4-7D53-4B19-83F8-7773E8FB2B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84456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2B4917-70BC-4191-B267-1E09F5585BA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6662861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49609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4BFB38-1F04-4CBF-A549-B998BE4BA4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021831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Light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65083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5198F4-4D6C-4309-ABC3-E4A34159577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93497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08348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A63310F-369B-4847-9C8D-8070D5D8F77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90493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ACON_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3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</p:spTree>
    <p:extLst>
      <p:ext uri="{BB962C8B-B14F-4D97-AF65-F5344CB8AC3E}">
        <p14:creationId xmlns:p14="http://schemas.microsoft.com/office/powerpoint/2010/main" val="16650854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6205"/>
            <a:ext cx="4927896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9674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A09D48-32F6-4B53-90C5-983965D8955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196520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E81BB7-770F-44BA-906F-EA5A3753E3F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37460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544525-B621-4E08-82DB-560A40349F1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135368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4B76F9-4F78-49ED-8082-5E5A5ED6A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1877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4B76F9-4F78-49ED-8082-5E5A5ED6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B58467-406B-475A-8928-FF3F14AEE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30E19-71F9-4A86-9588-20F39725FD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37424A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0A7BCC-54D8-434F-A67D-ADE3E9AFCA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 dirty="0">
              <a:solidFill>
                <a:srgbClr val="3742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585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D22A3-822E-4A3B-96E7-CF64817FE3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24397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25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7337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626225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17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22098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6726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6383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2758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95800" y="6477000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38639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7841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271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01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1E8B79-BF55-4624-8CFC-7E88DFC429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25525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46654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F82C3-B0A9-4D90-8221-B2195BCD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4212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1CB57-8D3D-48E6-BA83-5A3B10933D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bjClassifierImageBottom">
            <a:extLst>
              <a:ext uri="{FF2B5EF4-FFF2-40B4-BE49-F238E27FC236}">
                <a16:creationId xmlns:a16="http://schemas.microsoft.com/office/drawing/2014/main" id="{53DC6935-4C94-4B6D-8C86-701E648A8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12323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19F9D-F887-46FE-85D6-FD4A564E7A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12368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4F614-FE2F-4084-850F-590967C4E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39739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2FC8A-0462-4F84-B542-F7C98182D1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1695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2C196-238A-4BC4-A0FC-51707A521B0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5267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F057D-B440-429A-8B26-16F1E095054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009279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4B1A9-BD49-4EE5-B297-1C6D4771A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1761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32E299-014A-4C15-B162-DD8CEA2B34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9213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270" tIns="45642" rIns="91270" bIns="45642" anchor="ctr"/>
          <a:lstStyle/>
          <a:p>
            <a:endParaRPr lang="en-US"/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9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9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65691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09E0EB-4569-4A7E-B528-052D8B7CB1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5424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38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38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18C712-A849-456D-BD98-D9C6779205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9404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5622DA-627E-4849-8AB0-56CF53C1ED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7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1" t="18857" b="2"/>
          <a:stretch>
            <a:fillRect/>
          </a:stretch>
        </p:blipFill>
        <p:spPr bwMode="auto">
          <a:xfrm>
            <a:off x="24" y="8"/>
            <a:ext cx="2651125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8600" y="2192699"/>
            <a:ext cx="1752600" cy="533400"/>
          </a:xfrm>
        </p:spPr>
        <p:txBody>
          <a:bodyPr anchor="b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8122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86A58-2A80-4711-B962-1FDC623D8E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527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C0EFD-90FE-4F11-B5D5-4033F1C9D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636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3298-2DE3-4757-BE0A-25105F0422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50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CFC5D-181E-4E7A-882D-F810D2FDF0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1803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544E2-BCA6-4468-828D-3BC4F74825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87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4390B-0F7C-434E-8F78-342D9DBE2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100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1E8E9-86BC-446D-8CCE-7460ECCC95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0121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FB23A-F120-4928-B9A9-71700EE395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116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59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59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6C8E1-533B-408A-B3EB-9B9D98CD6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113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15874-C1B4-44EA-A33C-F24CB2FE7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9222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6" name="Freeform 5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B818FDC9-7DCF-4379-A76D-8835E7A366DA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3" name="Freeform 12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039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6DFDB-B784-40D0-89AF-985E46A87A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9250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C1784-6D43-4678-BA3E-4529929F2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0578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3591E8-4485-458B-9A26-565322F4A2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60883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78DCFA-9241-4E30-AEA0-B534508CA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91783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03ABE7-C67F-49BC-83DB-838E8F316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99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C83A0-82DC-411B-B6CF-FD71A121C1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4604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3BDC-BCDF-49E2-B308-A3356F2E2B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28444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BBA092-2B07-4A54-B3FB-884377562F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93750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9BA6B-01F1-41B7-A839-B9C963FC44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7379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31E54-2647-48B6-9AC9-7CF372A62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53096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8" name="Freeform 7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0F8457C4-0478-4319-A700-50DE3384F4BB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4" name="Group 28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5" name="Freeform 14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3245"/>
            <a:ext cx="8382000" cy="4525963"/>
          </a:xfrm>
        </p:spPr>
        <p:txBody>
          <a:bodyPr/>
          <a:lstStyle>
            <a:lvl1pPr marL="234039" indent="-234039">
              <a:buFont typeface="Wingdings" panose="05000000000000000000" pitchFamily="2" charset="2"/>
              <a:buChar char="Ø"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05592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75128-4E82-4334-87B2-7B046A72F0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4053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D68BB-92A4-43CA-9F4B-7C0B7E204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68196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FE73B-E4F3-469D-A0C2-26A5401EA6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0549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CC5AE-CE4E-43BD-9D81-2C6EE3A1EA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8433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6B3D5E-9C2B-4E03-86E0-7F3832F09B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2863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A765E6-10B7-402A-A8D2-B27DA729C2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6445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18F4-16AC-4BEF-97FE-45761CB1A7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12380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79DF3-A5B0-4F7C-B6C7-C2216C12B1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7690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40805-9D4A-4632-AEE0-3D2AAB6379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6702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802A00-9016-4D6D-BCCC-6E65F563D1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4956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478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9586AB-C23F-4898-9F56-48A16F89C0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43422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645706-A17E-4A00-A4FC-6F5BEFE413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51246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F2D2D-C2C1-49B4-B26B-C18C42DA48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3651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BF183-5882-4120-8A01-0BACA8495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7995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7474B6-2382-49A7-AC4E-E2AB6BE1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188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78061-D1E4-400D-A2EE-47902C241E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83797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335796-CEBC-4B04-837C-45493925CC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43117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FFCA3-5C66-4DA6-BB30-B5681697B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6715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A777E-B142-4D56-8F10-F5426FC561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5062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5952C-AE61-4082-ADBC-D71E5CE799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9621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018" tIns="45506" rIns="91018" bIns="45506"/>
          <a:lstStyle>
            <a:lvl1pPr algn="l">
              <a:defRPr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4017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409156-DF21-4566-BBD6-BD67B2E744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2092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69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69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D093B-99F1-41A6-9F2D-08D4E17426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6917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D80503-F221-4C20-8466-00B1228D35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40490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A61E3E-9F87-4269-881C-75631A64BC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79290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41993B-1650-4D61-969A-DF05C9E898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4772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5EDB-B74F-41FE-9B76-F1D14CB9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43959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61BC0-A25D-46C3-A9C0-2B88425A2C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4652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149A1-7189-4FB9-A1AD-69573186D8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4758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6518F-E6B8-42FC-A676-BF1519E444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79590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FA384-D418-4741-B274-6C80B0F6CD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610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895E74-2F21-4C5E-8944-F145F7052D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90252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549CF-9E21-4A6B-A377-8C36BBDAF3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5366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F0E264-F26E-4D3D-9953-E2A9FC73B3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980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7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7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3DD319-9F7F-43B8-88BF-BBA17FCD3E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921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31746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6663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35" indent="0">
              <a:buNone/>
              <a:defRPr sz="1800"/>
            </a:lvl2pPr>
            <a:lvl3pPr marL="913071" indent="0">
              <a:buNone/>
              <a:defRPr sz="1600"/>
            </a:lvl3pPr>
            <a:lvl4pPr marL="1369610" indent="0">
              <a:buNone/>
              <a:defRPr sz="1400"/>
            </a:lvl4pPr>
            <a:lvl5pPr marL="1826148" indent="0">
              <a:buNone/>
              <a:defRPr sz="1400"/>
            </a:lvl5pPr>
            <a:lvl6pPr marL="2282682" indent="0">
              <a:buNone/>
              <a:defRPr sz="1400"/>
            </a:lvl6pPr>
            <a:lvl7pPr marL="2739217" indent="0">
              <a:buNone/>
              <a:defRPr sz="1400"/>
            </a:lvl7pPr>
            <a:lvl8pPr marL="3195751" indent="0">
              <a:buNone/>
              <a:defRPr sz="1400"/>
            </a:lvl8pPr>
            <a:lvl9pPr marL="36522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000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9422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775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688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653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CED1A-410A-4089-BDC8-E4ACE700E7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6251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6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413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535" indent="0">
              <a:buNone/>
              <a:defRPr sz="2800"/>
            </a:lvl2pPr>
            <a:lvl3pPr marL="913071" indent="0">
              <a:buNone/>
              <a:defRPr sz="2400"/>
            </a:lvl3pPr>
            <a:lvl4pPr marL="1369610" indent="0">
              <a:buNone/>
              <a:defRPr sz="2000"/>
            </a:lvl4pPr>
            <a:lvl5pPr marL="1826148" indent="0">
              <a:buNone/>
              <a:defRPr sz="2000"/>
            </a:lvl5pPr>
            <a:lvl6pPr marL="2282682" indent="0">
              <a:buNone/>
              <a:defRPr sz="2000"/>
            </a:lvl6pPr>
            <a:lvl7pPr marL="2739217" indent="0">
              <a:buNone/>
              <a:defRPr sz="2000"/>
            </a:lvl7pPr>
            <a:lvl8pPr marL="3195751" indent="0">
              <a:buNone/>
              <a:defRPr sz="2000"/>
            </a:lvl8pPr>
            <a:lvl9pPr marL="365228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7719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090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6587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2817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190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7" indent="0">
              <a:buNone/>
              <a:defRPr sz="1800"/>
            </a:lvl2pPr>
            <a:lvl3pPr marL="913634" indent="0">
              <a:buNone/>
              <a:defRPr sz="1600"/>
            </a:lvl3pPr>
            <a:lvl4pPr marL="1370450" indent="0">
              <a:buNone/>
              <a:defRPr sz="1400"/>
            </a:lvl4pPr>
            <a:lvl5pPr marL="1827272" indent="0">
              <a:buNone/>
              <a:defRPr sz="1400"/>
            </a:lvl5pPr>
            <a:lvl6pPr marL="2284087" indent="0">
              <a:buNone/>
              <a:defRPr sz="1400"/>
            </a:lvl6pPr>
            <a:lvl7pPr marL="2740905" indent="0">
              <a:buNone/>
              <a:defRPr sz="1400"/>
            </a:lvl7pPr>
            <a:lvl8pPr marL="3197722" indent="0">
              <a:buNone/>
              <a:defRPr sz="1400"/>
            </a:lvl8pPr>
            <a:lvl9pPr marL="365453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7332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708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624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90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37A95-BF75-441A-85F7-46BF78745D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3151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483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4486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817" indent="0">
              <a:buNone/>
              <a:defRPr sz="2800"/>
            </a:lvl2pPr>
            <a:lvl3pPr marL="913634" indent="0">
              <a:buNone/>
              <a:defRPr sz="2400"/>
            </a:lvl3pPr>
            <a:lvl4pPr marL="1370450" indent="0">
              <a:buNone/>
              <a:defRPr sz="2000"/>
            </a:lvl4pPr>
            <a:lvl5pPr marL="1827272" indent="0">
              <a:buNone/>
              <a:defRPr sz="2000"/>
            </a:lvl5pPr>
            <a:lvl6pPr marL="2284087" indent="0">
              <a:buNone/>
              <a:defRPr sz="2000"/>
            </a:lvl6pPr>
            <a:lvl7pPr marL="2740905" indent="0">
              <a:buNone/>
              <a:defRPr sz="2000"/>
            </a:lvl7pPr>
            <a:lvl8pPr marL="3197722" indent="0">
              <a:buNone/>
              <a:defRPr sz="2000"/>
            </a:lvl8pPr>
            <a:lvl9pPr marL="36545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282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6149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672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3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773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148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6" indent="0">
              <a:buNone/>
              <a:defRPr sz="1800"/>
            </a:lvl2pPr>
            <a:lvl3pPr marL="914292" indent="0">
              <a:buNone/>
              <a:defRPr sz="1600"/>
            </a:lvl3pPr>
            <a:lvl4pPr marL="1371437" indent="0">
              <a:buNone/>
              <a:defRPr sz="1400"/>
            </a:lvl4pPr>
            <a:lvl5pPr marL="1828583" indent="0">
              <a:buNone/>
              <a:defRPr sz="1400"/>
            </a:lvl5pPr>
            <a:lvl6pPr marL="2285729" indent="0">
              <a:buNone/>
              <a:defRPr sz="1400"/>
            </a:lvl6pPr>
            <a:lvl7pPr marL="2742875" indent="0">
              <a:buNone/>
              <a:defRPr sz="1400"/>
            </a:lvl7pPr>
            <a:lvl8pPr marL="3200021" indent="0">
              <a:buNone/>
              <a:defRPr sz="1400"/>
            </a:lvl8pPr>
            <a:lvl9pPr marL="365716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41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617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892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2.jpeg"/><Relationship Id="rId5" Type="http://schemas.openxmlformats.org/officeDocument/2006/relationships/theme" Target="../theme/them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09.xml"/><Relationship Id="rId9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1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ags" Target="../tags/tag1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tags" Target="../tags/tag12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41" Type="http://schemas.openxmlformats.org/officeDocument/2006/relationships/vmlDrawing" Target="../drawings/vmlDrawing8.v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4" Type="http://schemas.openxmlformats.org/officeDocument/2006/relationships/image" Target="../media/image22.emf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oleObject" Target="../embeddings/oleObject8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0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14"/>
            <a:ext cx="8382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3" name="Pictur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205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9" name="Freeform 18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056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FA8E8656-0EB3-44AD-BDFB-3C500B7648B9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03" r:id="rId1"/>
    <p:sldLayoutId id="2147485104" r:id="rId2"/>
    <p:sldLayoutId id="2147485105" r:id="rId3"/>
    <p:sldLayoutId id="2147485106" r:id="rId4"/>
    <p:sldLayoutId id="2147485107" r:id="rId5"/>
    <p:sldLayoutId id="2147485024" r:id="rId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5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08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62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17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32931" indent="-232931" algn="l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Char char="•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65692" indent="-217089" algn="l" rtl="0" eaLnBrk="0" fontAlgn="base" hangingPunct="0">
        <a:spcBef>
          <a:spcPct val="20000"/>
        </a:spcBef>
        <a:spcAft>
          <a:spcPct val="0"/>
        </a:spcAft>
        <a:buClr>
          <a:srgbClr val="BFBFBF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854085" indent="-174301" algn="l" rtl="0" eaLnBrk="0" fontAlgn="base" hangingPunct="0">
        <a:spcBef>
          <a:spcPct val="20000"/>
        </a:spcBef>
        <a:spcAft>
          <a:spcPct val="0"/>
        </a:spcAft>
        <a:buClr>
          <a:srgbClr val="8CC7BA"/>
        </a:buClr>
        <a:buSzPct val="90000"/>
        <a:buChar char="•"/>
        <a:defRPr sz="1200">
          <a:solidFill>
            <a:schemeClr val="tx1"/>
          </a:solidFill>
          <a:latin typeface="+mn-lt"/>
          <a:ea typeface="Arial" charset="0"/>
          <a:cs typeface="+mn-cs"/>
        </a:defRPr>
      </a:lvl3pPr>
      <a:lvl4pPr marL="1199518" indent="-229766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  <a:ea typeface="Arial" charset="0"/>
          <a:cs typeface="+mn-cs"/>
        </a:defRPr>
      </a:lvl4pPr>
      <a:lvl5pPr marL="2048856" indent="-226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04868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029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1572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71153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36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3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92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1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14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581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00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434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3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4292"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 defTabSz="914292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49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274" r:id="rId2"/>
    <p:sldLayoutId id="2147485275" r:id="rId3"/>
    <p:sldLayoutId id="2147485276" r:id="rId4"/>
    <p:sldLayoutId id="2147485277" r:id="rId5"/>
    <p:sldLayoutId id="2147485278" r:id="rId6"/>
    <p:sldLayoutId id="2147485279" r:id="rId7"/>
    <p:sldLayoutId id="2147485280" r:id="rId8"/>
    <p:sldLayoutId id="2147485281" r:id="rId9"/>
    <p:sldLayoutId id="2147485282" r:id="rId10"/>
    <p:sldLayoutId id="214748528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146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29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43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583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573" indent="-228573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432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148" indent="-17142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007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157" indent="-228573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302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447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8593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5739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2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7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3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9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5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1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228601"/>
            <a:ext cx="7408862" cy="1209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728789"/>
            <a:ext cx="8445500" cy="439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473831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  <a:latin typeface="Arial"/>
              <a:cs typeface="Arial"/>
            </a:endParaRPr>
          </a:p>
        </p:txBody>
      </p:sp>
      <p:pic>
        <p:nvPicPr>
          <p:cNvPr id="6" name="Picture 5" descr="merck_be_well_green_gray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72" y="6355080"/>
            <a:ext cx="1008888" cy="307848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74" y="6340110"/>
            <a:ext cx="2356138" cy="37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69" y="6559422"/>
            <a:ext cx="659606" cy="26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0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9" r:id="rId1"/>
    <p:sldLayoutId id="2147485300" r:id="rId2"/>
    <p:sldLayoutId id="2147485301" r:id="rId3"/>
    <p:sldLayoutId id="2147485302" r:id="rId4"/>
  </p:sldLayoutIdLst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ABDA34-F357-4A4C-863A-DADF89ACA8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3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9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5" y="566743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6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03" y="33338"/>
            <a:ext cx="1746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1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78" y="566743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3" y="549281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8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EAA374-18C6-4B0A-82BC-D3AD6B970177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95180960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3" imgW="473" imgH="473" progId="TCLayout.ActiveDocument.1">
                  <p:embed/>
                </p:oleObj>
              </mc:Choice>
              <mc:Fallback>
                <p:oleObj name="think-cell Slide" r:id="rId4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EAA374-18C6-4B0A-82BC-D3AD6B970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666" y="446259"/>
            <a:ext cx="7849610" cy="107774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666" y="1853405"/>
            <a:ext cx="8222618" cy="4290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659" y="6433581"/>
            <a:ext cx="2895600" cy="2720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kern="600" spc="3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7424A"/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7118" y="6433603"/>
            <a:ext cx="279405" cy="2892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kern="600" spc="1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74D97F68-CC38-3C48-B083-3B4A1457065E}" type="slidenum">
              <a:rPr lang="en-US" smtClean="0">
                <a:solidFill>
                  <a:srgbClr val="37424A"/>
                </a:solidFill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37424A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79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3" r:id="rId14"/>
    <p:sldLayoutId id="2147485434" r:id="rId15"/>
    <p:sldLayoutId id="2147485435" r:id="rId16"/>
    <p:sldLayoutId id="2147485436" r:id="rId17"/>
    <p:sldLayoutId id="2147485437" r:id="rId18"/>
    <p:sldLayoutId id="2147485438" r:id="rId19"/>
    <p:sldLayoutId id="2147485439" r:id="rId20"/>
    <p:sldLayoutId id="2147485440" r:id="rId21"/>
    <p:sldLayoutId id="2147485441" r:id="rId22"/>
    <p:sldLayoutId id="2147485442" r:id="rId23"/>
    <p:sldLayoutId id="2147485443" r:id="rId24"/>
    <p:sldLayoutId id="2147485444" r:id="rId25"/>
    <p:sldLayoutId id="2147485445" r:id="rId26"/>
    <p:sldLayoutId id="2147485446" r:id="rId27"/>
    <p:sldLayoutId id="2147485447" r:id="rId28"/>
    <p:sldLayoutId id="2147485448" r:id="rId29"/>
    <p:sldLayoutId id="2147485449" r:id="rId30"/>
    <p:sldLayoutId id="2147485450" r:id="rId31"/>
    <p:sldLayoutId id="2147485451" r:id="rId32"/>
    <p:sldLayoutId id="2147485452" r:id="rId33"/>
    <p:sldLayoutId id="2147485453" r:id="rId34"/>
    <p:sldLayoutId id="2147485454" r:id="rId35"/>
    <p:sldLayoutId id="2147485455" r:id="rId36"/>
    <p:sldLayoutId id="2147485456" r:id="rId37"/>
    <p:sldLayoutId id="2147485457" r:id="rId38"/>
    <p:sldLayoutId id="2147485458" r:id="rId39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kern="600" spc="5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200" rtl="0" eaLnBrk="1" latinLnBrk="0" hangingPunct="1">
        <a:lnSpc>
          <a:spcPct val="97000"/>
        </a:lnSpc>
        <a:spcBef>
          <a:spcPts val="1000"/>
        </a:spcBef>
        <a:buFont typeface="Arial"/>
        <a:buNone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1pPr>
      <a:lvl2pPr marL="193675" indent="-165100" algn="l" defTabSz="457200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2pPr>
      <a:lvl3pPr marL="401638" indent="-174625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900" kern="600" spc="30">
          <a:solidFill>
            <a:schemeClr val="tx1"/>
          </a:solidFill>
          <a:latin typeface="Arial Narrow"/>
          <a:ea typeface="+mn-ea"/>
          <a:cs typeface="Arial Narrow"/>
        </a:defRPr>
      </a:lvl3pPr>
      <a:lvl4pPr marL="584200" indent="-168275" algn="l" defTabSz="457200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800" kern="600" spc="30">
          <a:solidFill>
            <a:schemeClr val="tx1"/>
          </a:solidFill>
          <a:latin typeface="Arial Narrow"/>
          <a:ea typeface="+mn-ea"/>
          <a:cs typeface="Arial Narrow"/>
        </a:defRPr>
      </a:lvl4pPr>
      <a:lvl5pPr marL="773113" indent="-182563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700" kern="600" spc="3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25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01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490" r:id="rId7"/>
    <p:sldLayoutId id="2147485491" r:id="rId8"/>
    <p:sldLayoutId id="2147485492" r:id="rId9"/>
    <p:sldLayoutId id="2147485493" r:id="rId10"/>
    <p:sldLayoutId id="214748549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600" indent="-228600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15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3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9" tIns="45719" rIns="91439" bIns="45719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38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8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latin typeface="+mn-lt"/>
                <a:cs typeface="+mn-cs"/>
              </a:defRPr>
            </a:lvl1pPr>
          </a:lstStyle>
          <a:p>
            <a:pPr>
              <a:defRPr/>
            </a:pPr>
            <a:fld id="{B94BA365-5990-4524-8DD9-C802ACD425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84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7" r:id="rId1"/>
    <p:sldLayoutId id="2147485618" r:id="rId2"/>
    <p:sldLayoutId id="2147485619" r:id="rId3"/>
    <p:sldLayoutId id="2147485620" r:id="rId4"/>
    <p:sldLayoutId id="2147485621" r:id="rId5"/>
    <p:sldLayoutId id="2147485622" r:id="rId6"/>
    <p:sldLayoutId id="2147485623" r:id="rId7"/>
    <p:sldLayoutId id="2147485624" r:id="rId8"/>
    <p:sldLayoutId id="2147485625" r:id="rId9"/>
    <p:sldLayoutId id="2147485626" r:id="rId10"/>
    <p:sldLayoutId id="2147485627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870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88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60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432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2004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5440E9D-2D7A-4660-94BB-026791CD87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  <p:sldLayoutId id="2147485029" r:id="rId5"/>
    <p:sldLayoutId id="2147485030" r:id="rId6"/>
    <p:sldLayoutId id="2147485031" r:id="rId7"/>
    <p:sldLayoutId id="2147485032" r:id="rId8"/>
    <p:sldLayoutId id="2147485033" r:id="rId9"/>
    <p:sldLayoutId id="2147485034" r:id="rId10"/>
    <p:sldLayoutId id="2147485035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0D2998-EBA7-456D-A357-04397EDAD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4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8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4" y="566767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8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24" y="33346"/>
            <a:ext cx="17462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43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82" y="566767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4" y="549290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036" r:id="rId2"/>
    <p:sldLayoutId id="2147485037" r:id="rId3"/>
    <p:sldLayoutId id="2147485038" r:id="rId4"/>
    <p:sldLayoutId id="2147485039" r:id="rId5"/>
    <p:sldLayoutId id="2147485040" r:id="rId6"/>
    <p:sldLayoutId id="2147485041" r:id="rId7"/>
    <p:sldLayoutId id="2147485042" r:id="rId8"/>
    <p:sldLayoutId id="2147485043" r:id="rId9"/>
    <p:sldLayoutId id="2147485044" r:id="rId10"/>
    <p:sldLayoutId id="214748504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180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0451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798624" indent="-114091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0184" indent="-17747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69077" indent="-164794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542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1780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3813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194492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1EAC97-74FA-47A1-89B2-57AB9E8240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5047" r:id="rId2"/>
    <p:sldLayoutId id="2147485048" r:id="rId3"/>
    <p:sldLayoutId id="2147485049" r:id="rId4"/>
    <p:sldLayoutId id="2147485050" r:id="rId5"/>
    <p:sldLayoutId id="2147485051" r:id="rId6"/>
    <p:sldLayoutId id="2147485052" r:id="rId7"/>
    <p:sldLayoutId id="2147485053" r:id="rId8"/>
    <p:sldLayoutId id="2147485054" r:id="rId9"/>
    <p:sldLayoutId id="2147485055" r:id="rId10"/>
    <p:sldLayoutId id="2147485056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19D8D1-2D27-4C1D-AFFE-245B4A637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126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E5DDEB-010E-4D3B-8FD3-949E155F0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8" r:id="rId10"/>
    <p:sldLayoutId id="2147485089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229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D4FBD7-F831-4DA2-8A77-6312BE259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071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071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13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  <p:sldLayoutId id="2147485254" r:id="rId6"/>
    <p:sldLayoutId id="2147485255" r:id="rId7"/>
    <p:sldLayoutId id="2147485256" r:id="rId8"/>
    <p:sldLayoutId id="2147485257" r:id="rId9"/>
    <p:sldLayoutId id="2147485258" r:id="rId10"/>
    <p:sldLayoutId id="214748525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535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071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961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6148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269" indent="-22826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0672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004" indent="-171201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8408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4414" indent="-22826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0948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7485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4020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0557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5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7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1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4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82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17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5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8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634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634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3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1" r:id="rId1"/>
    <p:sldLayoutId id="2147485262" r:id="rId2"/>
    <p:sldLayoutId id="2147485263" r:id="rId3"/>
    <p:sldLayoutId id="2147485264" r:id="rId4"/>
    <p:sldLayoutId id="2147485265" r:id="rId5"/>
    <p:sldLayoutId id="2147485266" r:id="rId6"/>
    <p:sldLayoutId id="2147485267" r:id="rId7"/>
    <p:sldLayoutId id="2147485268" r:id="rId8"/>
    <p:sldLayoutId id="2147485269" r:id="rId9"/>
    <p:sldLayoutId id="2147485270" r:id="rId10"/>
    <p:sldLayoutId id="21474852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81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634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045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727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409" indent="-22840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022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532" indent="-171306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9146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5680" indent="-22840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2496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9313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6129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2947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4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5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7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8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05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2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38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bika – 2019 Key Accomplish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2038"/>
            <a:ext cx="8527002" cy="5467350"/>
          </a:xfrm>
        </p:spPr>
        <p:txBody>
          <a:bodyPr/>
          <a:lstStyle/>
          <a:p>
            <a:r>
              <a:rPr lang="en-US" sz="1600" dirty="0"/>
              <a:t>Optimal reallocation of 2020 promotion spends of about $350MM through IPF and various consulting work.</a:t>
            </a:r>
          </a:p>
          <a:p>
            <a:pPr marL="114300" lvl="1" indent="0">
              <a:buNone/>
            </a:pPr>
            <a:endParaRPr lang="en-US" sz="1200" dirty="0"/>
          </a:p>
          <a:p>
            <a:r>
              <a:rPr lang="en-US" sz="1600" dirty="0"/>
              <a:t>NBE Gardasil/Januvia/</a:t>
            </a:r>
            <a:r>
              <a:rPr lang="en-US" sz="1600" dirty="0" err="1"/>
              <a:t>Steglatro</a:t>
            </a:r>
            <a:r>
              <a:rPr lang="en-US" sz="1600" dirty="0"/>
              <a:t> Digital Engagement Plan and NBE Support related to  Advanced Analytics, G9 NBE Business Case development. </a:t>
            </a:r>
          </a:p>
          <a:p>
            <a:pPr lvl="2"/>
            <a:r>
              <a:rPr lang="en-US" sz="1400" dirty="0"/>
              <a:t>Potential Incr. Revenue </a:t>
            </a:r>
            <a:r>
              <a:rPr lang="en-US" sz="1400" dirty="0">
                <a:solidFill>
                  <a:schemeClr val="tx1"/>
                </a:solidFill>
              </a:rPr>
              <a:t>~$25MM to $65MM.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dirty="0"/>
              <a:t>Researched and completed first set of DET Campaign Sales Impact measurements for Gardasil 9. </a:t>
            </a:r>
          </a:p>
          <a:p>
            <a:endParaRPr lang="en-US" sz="1600" dirty="0"/>
          </a:p>
          <a:p>
            <a:r>
              <a:rPr lang="en-US" sz="1600" dirty="0"/>
              <a:t>Ground work for Fortify related scenario evaluations and </a:t>
            </a:r>
            <a:r>
              <a:rPr lang="en-US" sz="1600" dirty="0" err="1"/>
              <a:t>Belsomra</a:t>
            </a:r>
            <a:r>
              <a:rPr lang="en-US" sz="1600" dirty="0"/>
              <a:t> Strategic Initiative Evaluations</a:t>
            </a:r>
          </a:p>
          <a:p>
            <a:endParaRPr lang="en-US" sz="1600" dirty="0"/>
          </a:p>
          <a:p>
            <a:r>
              <a:rPr lang="en-US" sz="1600" dirty="0"/>
              <a:t>Efficiency improvements through investment optimization tool development.</a:t>
            </a:r>
          </a:p>
          <a:p>
            <a:endParaRPr lang="en-US" sz="1600" dirty="0"/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0454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heme/theme1.xml><?xml version="1.0" encoding="utf-8"?>
<a:theme xmlns:a="http://schemas.openxmlformats.org/drawingml/2006/main" name="6_Default Design">
  <a:themeElements>
    <a:clrScheme name="Custom 9">
      <a:dk1>
        <a:srgbClr val="37424A"/>
      </a:dk1>
      <a:lt1>
        <a:sysClr val="window" lastClr="FFFFFF"/>
      </a:lt1>
      <a:dk2>
        <a:srgbClr val="37424A"/>
      </a:dk2>
      <a:lt2>
        <a:srgbClr val="F2F2F2"/>
      </a:lt2>
      <a:accent1>
        <a:srgbClr val="66203A"/>
      </a:accent1>
      <a:accent2>
        <a:srgbClr val="7F7F7F"/>
      </a:accent2>
      <a:accent3>
        <a:srgbClr val="53AAA6"/>
      </a:accent3>
      <a:accent4>
        <a:srgbClr val="BFBFBF"/>
      </a:accent4>
      <a:accent5>
        <a:srgbClr val="2F658E"/>
      </a:accent5>
      <a:accent6>
        <a:srgbClr val="F79646"/>
      </a:accent6>
      <a:hlink>
        <a:srgbClr val="2F658E"/>
      </a:hlink>
      <a:folHlink>
        <a:srgbClr val="37424A"/>
      </a:folHlink>
    </a:clrScheme>
    <a:fontScheme name="Default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GHH Strategy IFL_16-9 PPT Template">
  <a:themeElements>
    <a:clrScheme name="Merck Color Theme #1">
      <a:dk1>
        <a:srgbClr val="37424A"/>
      </a:dk1>
      <a:lt1>
        <a:sysClr val="window" lastClr="FFFFFF"/>
      </a:lt1>
      <a:dk2>
        <a:srgbClr val="005E5D"/>
      </a:dk2>
      <a:lt2>
        <a:srgbClr val="BFB8AF"/>
      </a:lt2>
      <a:accent1>
        <a:srgbClr val="00877C"/>
      </a:accent1>
      <a:accent2>
        <a:srgbClr val="6ECEB2"/>
      </a:accent2>
      <a:accent3>
        <a:srgbClr val="66203A"/>
      </a:accent3>
      <a:accent4>
        <a:srgbClr val="F68D2E"/>
      </a:accent4>
      <a:accent5>
        <a:srgbClr val="FBE122"/>
      </a:accent5>
      <a:accent6>
        <a:srgbClr val="BFB8AF"/>
      </a:accent6>
      <a:hlink>
        <a:srgbClr val="37424A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id_classification_euconfidential" value=""/>
  <element uid="cefbaa69-3bfa-4b56-8d22-6839cb7b06d0" value=""/>
</sisl>
</file>

<file path=customXml/itemProps1.xml><?xml version="1.0" encoding="utf-8"?>
<ds:datastoreItem xmlns:ds="http://schemas.openxmlformats.org/officeDocument/2006/customXml" ds:itemID="{3D14F182-5413-4663-AFB5-6CA4159C951F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522</TotalTime>
  <Words>92</Words>
  <Application>Microsoft Office PowerPoint</Application>
  <PresentationFormat>On-screen Show (4:3)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</vt:i4>
      </vt:variant>
    </vt:vector>
  </HeadingPairs>
  <TitlesOfParts>
    <vt:vector size="26" baseType="lpstr">
      <vt:lpstr>Arial</vt:lpstr>
      <vt:lpstr>Arial Narrow</vt:lpstr>
      <vt:lpstr>Calibri</vt:lpstr>
      <vt:lpstr>Lucida Grande</vt:lpstr>
      <vt:lpstr>Times New Roman</vt:lpstr>
      <vt:lpstr>Trebuchet MS</vt:lpstr>
      <vt:lpstr>Wingdings</vt:lpstr>
      <vt:lpstr>6_Default Design</vt:lpstr>
      <vt:lpstr>3_Custom Design</vt:lpstr>
      <vt:lpstr>1_Default Design</vt:lpstr>
      <vt:lpstr>4_Custom Design</vt:lpstr>
      <vt:lpstr>5_Custom Design</vt:lpstr>
      <vt:lpstr>6_Custom Design</vt:lpstr>
      <vt:lpstr>7_Custom Design</vt:lpstr>
      <vt:lpstr>Custom Design</vt:lpstr>
      <vt:lpstr>1_Custom Design</vt:lpstr>
      <vt:lpstr>2_Custom Design</vt:lpstr>
      <vt:lpstr>Merck Template MBA VERSION</vt:lpstr>
      <vt:lpstr>7_Default Design</vt:lpstr>
      <vt:lpstr>6_GHH Strategy IFL_16-9 PPT Template</vt:lpstr>
      <vt:lpstr>8_Custom Design</vt:lpstr>
      <vt:lpstr>9_Custom Design</vt:lpstr>
      <vt:lpstr>think-cell Slide</vt:lpstr>
      <vt:lpstr>Picture</vt:lpstr>
      <vt:lpstr>Image</vt:lpstr>
      <vt:lpstr>Ambika – 2019 Key Accomplishments</vt:lpstr>
    </vt:vector>
  </TitlesOfParts>
  <Company>Merck &amp; Co.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k_No_Image PPT Template</dc:title>
  <dc:creator>http://www.merckbranding.com</dc:creator>
  <cp:lastModifiedBy>Murugan, Senthil</cp:lastModifiedBy>
  <cp:revision>416</cp:revision>
  <cp:lastPrinted>2018-10-25T13:23:44Z</cp:lastPrinted>
  <dcterms:created xsi:type="dcterms:W3CDTF">2009-09-22T14:01:11Z</dcterms:created>
  <dcterms:modified xsi:type="dcterms:W3CDTF">2019-12-06T22:4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3a9a7b9-2b64-40fd-be64-e821f77ed1bd</vt:lpwstr>
  </property>
  <property fmtid="{D5CDD505-2E9C-101B-9397-08002B2CF9AE}" pid="3" name="bjSaver">
    <vt:lpwstr>Oh5c6E8ULhvu0B2i2GdwussaDlV3//4W</vt:lpwstr>
  </property>
  <property fmtid="{D5CDD505-2E9C-101B-9397-08002B2CF9AE}" pid="4" name="bjDocumentSecurityLabel">
    <vt:lpwstr>Proprietary</vt:lpwstr>
  </property>
  <property fmtid="{D5CDD505-2E9C-101B-9397-08002B2CF9AE}" pid="5" name="MerckMetadataExchange">
    <vt:lpwstr>!$MRK@Proprietary-Footer-Left</vt:lpwstr>
  </property>
  <property fmtid="{D5CDD505-2E9C-101B-9397-08002B2CF9AE}" pid="6" name="_AdHocReviewCycleID">
    <vt:i4>1774219868</vt:i4>
  </property>
  <property fmtid="{D5CDD505-2E9C-101B-9397-08002B2CF9AE}" pid="7" name="_NewReviewCycle">
    <vt:lpwstr/>
  </property>
  <property fmtid="{D5CDD505-2E9C-101B-9397-08002B2CF9AE}" pid="8" name="_EmailSubject">
    <vt:lpwstr>IA&amp;DS Capabilities Deck </vt:lpwstr>
  </property>
  <property fmtid="{D5CDD505-2E9C-101B-9397-08002B2CF9AE}" pid="9" name="_AuthorEmail">
    <vt:lpwstr>patrick_moore@merck.com</vt:lpwstr>
  </property>
  <property fmtid="{D5CDD505-2E9C-101B-9397-08002B2CF9AE}" pid="10" name="_AuthorEmailDisplayName">
    <vt:lpwstr>Moore, Patrick C</vt:lpwstr>
  </property>
  <property fmtid="{D5CDD505-2E9C-101B-9397-08002B2CF9AE}" pid="11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12" name="bjDocumentLabelXML-0">
    <vt:lpwstr>ames.com/2008/01/sie/internal/label"&gt;&lt;element uid="id_classification_euconfidential" value="" /&gt;&lt;element uid="cefbaa69-3bfa-4b56-8d22-6839cb7b06d0" value="" /&gt;&lt;/sisl&gt;</vt:lpwstr>
  </property>
</Properties>
</file>